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3" r:id="rId1"/>
  </p:sldMasterIdLst>
  <p:notesMasterIdLst>
    <p:notesMasterId r:id="rId28"/>
  </p:notesMasterIdLst>
  <p:sldIdLst>
    <p:sldId id="280" r:id="rId2"/>
    <p:sldId id="265" r:id="rId3"/>
    <p:sldId id="266" r:id="rId4"/>
    <p:sldId id="264" r:id="rId5"/>
    <p:sldId id="258" r:id="rId6"/>
    <p:sldId id="290" r:id="rId7"/>
    <p:sldId id="282" r:id="rId8"/>
    <p:sldId id="283" r:id="rId9"/>
    <p:sldId id="284" r:id="rId10"/>
    <p:sldId id="285" r:id="rId11"/>
    <p:sldId id="267" r:id="rId12"/>
    <p:sldId id="268" r:id="rId13"/>
    <p:sldId id="269" r:id="rId14"/>
    <p:sldId id="286" r:id="rId15"/>
    <p:sldId id="287" r:id="rId16"/>
    <p:sldId id="270" r:id="rId17"/>
    <p:sldId id="271" r:id="rId18"/>
    <p:sldId id="275" r:id="rId19"/>
    <p:sldId id="273" r:id="rId20"/>
    <p:sldId id="274" r:id="rId21"/>
    <p:sldId id="288" r:id="rId22"/>
    <p:sldId id="276" r:id="rId23"/>
    <p:sldId id="289" r:id="rId24"/>
    <p:sldId id="277" r:id="rId25"/>
    <p:sldId id="278" r:id="rId26"/>
    <p:sldId id="281" r:id="rId27"/>
  </p:sldIdLst>
  <p:sldSz cx="9144000" cy="6858000" type="screen4x3"/>
  <p:notesSz cx="7099300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6"/>
    <p:restoredTop sz="94674"/>
  </p:normalViewPr>
  <p:slideViewPr>
    <p:cSldViewPr snapToGrid="0">
      <p:cViewPr varScale="1">
        <p:scale>
          <a:sx n="132" d="100"/>
          <a:sy n="132" d="100"/>
        </p:scale>
        <p:origin x="204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notesMaster" Target="notesMasters/notesMaster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41288" marR="0" lvl="0" indent="-84138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69875" marR="0" lvl="1" indent="-73025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38150" marR="0" lvl="2" indent="-114300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17538" marR="0" lvl="3" indent="-128587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85813" marR="0" lvl="4" indent="-119062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Shape 5"/>
          <p:cNvSpPr txBox="1">
            <a:spLocks noGrp="1"/>
          </p:cNvSpPr>
          <p:nvPr>
            <p:ph type="dt" idx="10"/>
          </p:nvPr>
        </p:nvSpPr>
        <p:spPr>
          <a:xfrm>
            <a:off x="5070475" y="9647238"/>
            <a:ext cx="1150938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492125" y="9647238"/>
            <a:ext cx="4679950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6364288" y="9647238"/>
            <a:ext cx="490537" cy="2889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Noto Sans Symbols"/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Shape 8"/>
          <p:cNvGrpSpPr/>
          <p:nvPr/>
        </p:nvGrpSpPr>
        <p:grpSpPr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9" name="Shape 9"/>
            <p:cNvSpPr/>
            <p:nvPr/>
          </p:nvSpPr>
          <p:spPr>
            <a:xfrm>
              <a:off x="7307384" y="6310141"/>
              <a:ext cx="1512766" cy="1216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7661"/>
                  </a:moveTo>
                  <a:lnTo>
                    <a:pt x="0" y="2291"/>
                  </a:lnTo>
                  <a:lnTo>
                    <a:pt x="4528" y="2291"/>
                  </a:lnTo>
                  <a:lnTo>
                    <a:pt x="4528" y="19761"/>
                  </a:lnTo>
                  <a:lnTo>
                    <a:pt x="1530" y="19761"/>
                  </a:lnTo>
                  <a:lnTo>
                    <a:pt x="1530" y="40095"/>
                  </a:lnTo>
                  <a:lnTo>
                    <a:pt x="4252" y="40095"/>
                  </a:lnTo>
                  <a:lnTo>
                    <a:pt x="4252" y="56706"/>
                  </a:lnTo>
                  <a:lnTo>
                    <a:pt x="1530" y="56706"/>
                  </a:lnTo>
                  <a:lnTo>
                    <a:pt x="1530" y="80190"/>
                  </a:lnTo>
                  <a:lnTo>
                    <a:pt x="4592" y="80190"/>
                  </a:lnTo>
                  <a:lnTo>
                    <a:pt x="4592" y="97661"/>
                  </a:lnTo>
                  <a:lnTo>
                    <a:pt x="0" y="97661"/>
                  </a:lnTo>
                  <a:close/>
                  <a:moveTo>
                    <a:pt x="7313" y="44677"/>
                  </a:moveTo>
                  <a:lnTo>
                    <a:pt x="8143" y="44677"/>
                  </a:lnTo>
                  <a:cubicBezTo>
                    <a:pt x="8610" y="44677"/>
                    <a:pt x="8929" y="43245"/>
                    <a:pt x="9099" y="40668"/>
                  </a:cubicBezTo>
                  <a:cubicBezTo>
                    <a:pt x="9248" y="38377"/>
                    <a:pt x="9312" y="35226"/>
                    <a:pt x="9312" y="31217"/>
                  </a:cubicBezTo>
                  <a:cubicBezTo>
                    <a:pt x="9312" y="26348"/>
                    <a:pt x="9206" y="22625"/>
                    <a:pt x="8951" y="20334"/>
                  </a:cubicBezTo>
                  <a:cubicBezTo>
                    <a:pt x="8802" y="19188"/>
                    <a:pt x="8547" y="18329"/>
                    <a:pt x="8185" y="18329"/>
                  </a:cubicBezTo>
                  <a:lnTo>
                    <a:pt x="7313" y="18329"/>
                  </a:lnTo>
                  <a:lnTo>
                    <a:pt x="7313" y="44677"/>
                  </a:lnTo>
                  <a:close/>
                  <a:moveTo>
                    <a:pt x="5804" y="97661"/>
                  </a:moveTo>
                  <a:lnTo>
                    <a:pt x="5804" y="2291"/>
                  </a:lnTo>
                  <a:lnTo>
                    <a:pt x="8525" y="2291"/>
                  </a:lnTo>
                  <a:cubicBezTo>
                    <a:pt x="9227" y="2291"/>
                    <a:pt x="9780" y="4295"/>
                    <a:pt x="10163" y="8591"/>
                  </a:cubicBezTo>
                  <a:cubicBezTo>
                    <a:pt x="10630" y="13174"/>
                    <a:pt x="10843" y="20047"/>
                    <a:pt x="10843" y="28926"/>
                  </a:cubicBezTo>
                  <a:cubicBezTo>
                    <a:pt x="10843" y="36085"/>
                    <a:pt x="10694" y="42100"/>
                    <a:pt x="10375" y="46968"/>
                  </a:cubicBezTo>
                  <a:cubicBezTo>
                    <a:pt x="10226" y="49260"/>
                    <a:pt x="10056" y="50978"/>
                    <a:pt x="9822" y="52410"/>
                  </a:cubicBezTo>
                  <a:cubicBezTo>
                    <a:pt x="10120" y="53556"/>
                    <a:pt x="10333" y="56133"/>
                    <a:pt x="10503" y="59856"/>
                  </a:cubicBezTo>
                  <a:cubicBezTo>
                    <a:pt x="10588" y="61861"/>
                    <a:pt x="10673" y="65298"/>
                    <a:pt x="10715" y="69594"/>
                  </a:cubicBezTo>
                  <a:cubicBezTo>
                    <a:pt x="10737" y="71312"/>
                    <a:pt x="10779" y="75894"/>
                    <a:pt x="10800" y="83914"/>
                  </a:cubicBezTo>
                  <a:cubicBezTo>
                    <a:pt x="10843" y="89069"/>
                    <a:pt x="10885" y="92219"/>
                    <a:pt x="10928" y="93937"/>
                  </a:cubicBezTo>
                  <a:cubicBezTo>
                    <a:pt x="10949" y="95083"/>
                    <a:pt x="10992" y="96229"/>
                    <a:pt x="11055" y="97661"/>
                  </a:cubicBezTo>
                  <a:lnTo>
                    <a:pt x="9482" y="97661"/>
                  </a:lnTo>
                  <a:cubicBezTo>
                    <a:pt x="9440" y="95942"/>
                    <a:pt x="9397" y="94224"/>
                    <a:pt x="9376" y="92219"/>
                  </a:cubicBezTo>
                  <a:cubicBezTo>
                    <a:pt x="9376" y="91073"/>
                    <a:pt x="9355" y="86778"/>
                    <a:pt x="9312" y="79904"/>
                  </a:cubicBezTo>
                  <a:cubicBezTo>
                    <a:pt x="9270" y="73317"/>
                    <a:pt x="9206" y="68735"/>
                    <a:pt x="9121" y="66730"/>
                  </a:cubicBezTo>
                  <a:cubicBezTo>
                    <a:pt x="9014" y="63579"/>
                    <a:pt x="8866" y="61575"/>
                    <a:pt x="8653" y="60715"/>
                  </a:cubicBezTo>
                  <a:cubicBezTo>
                    <a:pt x="8547" y="60429"/>
                    <a:pt x="8377" y="60143"/>
                    <a:pt x="8185" y="60143"/>
                  </a:cubicBezTo>
                  <a:lnTo>
                    <a:pt x="7313" y="60143"/>
                  </a:lnTo>
                  <a:lnTo>
                    <a:pt x="7313" y="97661"/>
                  </a:lnTo>
                  <a:lnTo>
                    <a:pt x="5804" y="97661"/>
                  </a:lnTo>
                  <a:close/>
                  <a:moveTo>
                    <a:pt x="12182" y="97661"/>
                  </a:moveTo>
                  <a:lnTo>
                    <a:pt x="12182" y="2291"/>
                  </a:lnTo>
                  <a:lnTo>
                    <a:pt x="13713" y="2291"/>
                  </a:lnTo>
                  <a:lnTo>
                    <a:pt x="13713" y="79904"/>
                  </a:lnTo>
                  <a:lnTo>
                    <a:pt x="16477" y="79904"/>
                  </a:lnTo>
                  <a:lnTo>
                    <a:pt x="16477" y="97661"/>
                  </a:lnTo>
                  <a:lnTo>
                    <a:pt x="12182" y="97661"/>
                  </a:lnTo>
                  <a:close/>
                  <a:moveTo>
                    <a:pt x="17391" y="97661"/>
                  </a:moveTo>
                  <a:lnTo>
                    <a:pt x="17391" y="2291"/>
                  </a:lnTo>
                  <a:lnTo>
                    <a:pt x="21920" y="2291"/>
                  </a:lnTo>
                  <a:lnTo>
                    <a:pt x="21920" y="19761"/>
                  </a:lnTo>
                  <a:lnTo>
                    <a:pt x="18922" y="19761"/>
                  </a:lnTo>
                  <a:lnTo>
                    <a:pt x="18922" y="40095"/>
                  </a:lnTo>
                  <a:lnTo>
                    <a:pt x="21644" y="40095"/>
                  </a:lnTo>
                  <a:lnTo>
                    <a:pt x="21644" y="56706"/>
                  </a:lnTo>
                  <a:lnTo>
                    <a:pt x="18922" y="56706"/>
                  </a:lnTo>
                  <a:lnTo>
                    <a:pt x="18922" y="80190"/>
                  </a:lnTo>
                  <a:lnTo>
                    <a:pt x="21984" y="80190"/>
                  </a:lnTo>
                  <a:lnTo>
                    <a:pt x="21984" y="97661"/>
                  </a:lnTo>
                  <a:lnTo>
                    <a:pt x="17391" y="97661"/>
                  </a:lnTo>
                  <a:close/>
                  <a:moveTo>
                    <a:pt x="24705" y="81336"/>
                  </a:moveTo>
                  <a:lnTo>
                    <a:pt x="25535" y="81336"/>
                  </a:lnTo>
                  <a:cubicBezTo>
                    <a:pt x="25960" y="81336"/>
                    <a:pt x="26257" y="80190"/>
                    <a:pt x="26428" y="78472"/>
                  </a:cubicBezTo>
                  <a:cubicBezTo>
                    <a:pt x="26640" y="75894"/>
                    <a:pt x="26768" y="72458"/>
                    <a:pt x="26768" y="68162"/>
                  </a:cubicBezTo>
                  <a:cubicBezTo>
                    <a:pt x="26768" y="62720"/>
                    <a:pt x="26619" y="58997"/>
                    <a:pt x="26321" y="56992"/>
                  </a:cubicBezTo>
                  <a:cubicBezTo>
                    <a:pt x="26151" y="55560"/>
                    <a:pt x="25854" y="54988"/>
                    <a:pt x="25471" y="54988"/>
                  </a:cubicBezTo>
                  <a:lnTo>
                    <a:pt x="24705" y="54988"/>
                  </a:lnTo>
                  <a:lnTo>
                    <a:pt x="24705" y="81336"/>
                  </a:lnTo>
                  <a:close/>
                  <a:moveTo>
                    <a:pt x="24705" y="40668"/>
                  </a:moveTo>
                  <a:lnTo>
                    <a:pt x="25386" y="40668"/>
                  </a:lnTo>
                  <a:cubicBezTo>
                    <a:pt x="25768" y="40668"/>
                    <a:pt x="26024" y="40095"/>
                    <a:pt x="26194" y="38377"/>
                  </a:cubicBezTo>
                  <a:cubicBezTo>
                    <a:pt x="26406" y="36372"/>
                    <a:pt x="26513" y="33221"/>
                    <a:pt x="26513" y="29212"/>
                  </a:cubicBezTo>
                  <a:cubicBezTo>
                    <a:pt x="26513" y="24916"/>
                    <a:pt x="26385" y="21766"/>
                    <a:pt x="26109" y="20047"/>
                  </a:cubicBezTo>
                  <a:cubicBezTo>
                    <a:pt x="25981" y="18902"/>
                    <a:pt x="25726" y="18329"/>
                    <a:pt x="25386" y="18329"/>
                  </a:cubicBezTo>
                  <a:lnTo>
                    <a:pt x="24705" y="18329"/>
                  </a:lnTo>
                  <a:lnTo>
                    <a:pt x="24705" y="40668"/>
                  </a:lnTo>
                  <a:close/>
                  <a:moveTo>
                    <a:pt x="23196" y="97661"/>
                  </a:moveTo>
                  <a:lnTo>
                    <a:pt x="23196" y="2291"/>
                  </a:lnTo>
                  <a:lnTo>
                    <a:pt x="25705" y="2291"/>
                  </a:lnTo>
                  <a:cubicBezTo>
                    <a:pt x="26215" y="2291"/>
                    <a:pt x="26598" y="2863"/>
                    <a:pt x="26874" y="4009"/>
                  </a:cubicBezTo>
                  <a:cubicBezTo>
                    <a:pt x="27278" y="6014"/>
                    <a:pt x="27554" y="8878"/>
                    <a:pt x="27746" y="13174"/>
                  </a:cubicBezTo>
                  <a:cubicBezTo>
                    <a:pt x="27916" y="16897"/>
                    <a:pt x="28001" y="20906"/>
                    <a:pt x="28001" y="25489"/>
                  </a:cubicBezTo>
                  <a:cubicBezTo>
                    <a:pt x="28001" y="34940"/>
                    <a:pt x="27661" y="41527"/>
                    <a:pt x="26980" y="45823"/>
                  </a:cubicBezTo>
                  <a:cubicBezTo>
                    <a:pt x="27852" y="49832"/>
                    <a:pt x="28277" y="57565"/>
                    <a:pt x="28277" y="69594"/>
                  </a:cubicBezTo>
                  <a:cubicBezTo>
                    <a:pt x="28277" y="79904"/>
                    <a:pt x="28001" y="87637"/>
                    <a:pt x="27406" y="92792"/>
                  </a:cubicBezTo>
                  <a:cubicBezTo>
                    <a:pt x="27044" y="95942"/>
                    <a:pt x="26555" y="97661"/>
                    <a:pt x="25960" y="97661"/>
                  </a:cubicBezTo>
                  <a:lnTo>
                    <a:pt x="23196" y="97661"/>
                  </a:lnTo>
                  <a:close/>
                  <a:moveTo>
                    <a:pt x="29383" y="97661"/>
                  </a:moveTo>
                  <a:lnTo>
                    <a:pt x="29383" y="2291"/>
                  </a:lnTo>
                  <a:lnTo>
                    <a:pt x="33912" y="2291"/>
                  </a:lnTo>
                  <a:lnTo>
                    <a:pt x="33912" y="19761"/>
                  </a:lnTo>
                  <a:lnTo>
                    <a:pt x="30914" y="19761"/>
                  </a:lnTo>
                  <a:lnTo>
                    <a:pt x="30914" y="40095"/>
                  </a:lnTo>
                  <a:lnTo>
                    <a:pt x="33656" y="40095"/>
                  </a:lnTo>
                  <a:lnTo>
                    <a:pt x="33656" y="56706"/>
                  </a:lnTo>
                  <a:lnTo>
                    <a:pt x="30914" y="56706"/>
                  </a:lnTo>
                  <a:lnTo>
                    <a:pt x="30914" y="80190"/>
                  </a:lnTo>
                  <a:lnTo>
                    <a:pt x="33975" y="80190"/>
                  </a:lnTo>
                  <a:lnTo>
                    <a:pt x="33975" y="97661"/>
                  </a:lnTo>
                  <a:lnTo>
                    <a:pt x="29383" y="97661"/>
                  </a:lnTo>
                  <a:close/>
                  <a:moveTo>
                    <a:pt x="35187" y="97661"/>
                  </a:moveTo>
                  <a:lnTo>
                    <a:pt x="35187" y="2291"/>
                  </a:lnTo>
                  <a:lnTo>
                    <a:pt x="36718" y="2291"/>
                  </a:lnTo>
                  <a:lnTo>
                    <a:pt x="38929" y="63579"/>
                  </a:lnTo>
                  <a:lnTo>
                    <a:pt x="38929" y="2291"/>
                  </a:lnTo>
                  <a:lnTo>
                    <a:pt x="40396" y="2291"/>
                  </a:lnTo>
                  <a:lnTo>
                    <a:pt x="40396" y="97661"/>
                  </a:lnTo>
                  <a:lnTo>
                    <a:pt x="38866" y="97661"/>
                  </a:lnTo>
                  <a:lnTo>
                    <a:pt x="36633" y="36372"/>
                  </a:lnTo>
                  <a:lnTo>
                    <a:pt x="36633" y="97661"/>
                  </a:lnTo>
                  <a:lnTo>
                    <a:pt x="35187" y="97661"/>
                  </a:lnTo>
                  <a:close/>
                  <a:moveTo>
                    <a:pt x="43160" y="77040"/>
                  </a:moveTo>
                  <a:lnTo>
                    <a:pt x="43160" y="93078"/>
                  </a:lnTo>
                  <a:cubicBezTo>
                    <a:pt x="43160" y="99379"/>
                    <a:pt x="43097" y="104248"/>
                    <a:pt x="42969" y="107971"/>
                  </a:cubicBezTo>
                  <a:cubicBezTo>
                    <a:pt x="42863" y="111121"/>
                    <a:pt x="42650" y="113985"/>
                    <a:pt x="42352" y="116563"/>
                  </a:cubicBezTo>
                  <a:cubicBezTo>
                    <a:pt x="42140" y="118281"/>
                    <a:pt x="41885" y="119427"/>
                    <a:pt x="41608" y="120000"/>
                  </a:cubicBezTo>
                  <a:lnTo>
                    <a:pt x="41608" y="109976"/>
                  </a:lnTo>
                  <a:cubicBezTo>
                    <a:pt x="41821" y="109116"/>
                    <a:pt x="41991" y="107684"/>
                    <a:pt x="42097" y="105107"/>
                  </a:cubicBezTo>
                  <a:cubicBezTo>
                    <a:pt x="42204" y="103102"/>
                    <a:pt x="42267" y="100525"/>
                    <a:pt x="42267" y="97661"/>
                  </a:cubicBezTo>
                  <a:lnTo>
                    <a:pt x="41608" y="97661"/>
                  </a:lnTo>
                  <a:lnTo>
                    <a:pt x="41608" y="77040"/>
                  </a:lnTo>
                  <a:lnTo>
                    <a:pt x="43160" y="77040"/>
                  </a:lnTo>
                  <a:close/>
                  <a:moveTo>
                    <a:pt x="45776" y="2291"/>
                  </a:moveTo>
                  <a:lnTo>
                    <a:pt x="47306" y="2291"/>
                  </a:lnTo>
                  <a:lnTo>
                    <a:pt x="48157" y="67589"/>
                  </a:lnTo>
                  <a:lnTo>
                    <a:pt x="49071" y="2291"/>
                  </a:lnTo>
                  <a:lnTo>
                    <a:pt x="50517" y="2291"/>
                  </a:lnTo>
                  <a:lnTo>
                    <a:pt x="51410" y="67589"/>
                  </a:lnTo>
                  <a:lnTo>
                    <a:pt x="52282" y="2291"/>
                  </a:lnTo>
                  <a:lnTo>
                    <a:pt x="53791" y="2291"/>
                  </a:lnTo>
                  <a:lnTo>
                    <a:pt x="52197" y="97661"/>
                  </a:lnTo>
                  <a:lnTo>
                    <a:pt x="50666" y="97661"/>
                  </a:lnTo>
                  <a:lnTo>
                    <a:pt x="49773" y="32649"/>
                  </a:lnTo>
                  <a:lnTo>
                    <a:pt x="48901" y="97661"/>
                  </a:lnTo>
                  <a:lnTo>
                    <a:pt x="47370" y="97661"/>
                  </a:lnTo>
                  <a:lnTo>
                    <a:pt x="45776" y="2291"/>
                  </a:lnTo>
                  <a:close/>
                  <a:moveTo>
                    <a:pt x="56002" y="60715"/>
                  </a:moveTo>
                  <a:lnTo>
                    <a:pt x="57363" y="60715"/>
                  </a:lnTo>
                  <a:lnTo>
                    <a:pt x="56683" y="27780"/>
                  </a:lnTo>
                  <a:lnTo>
                    <a:pt x="56002" y="60715"/>
                  </a:lnTo>
                  <a:close/>
                  <a:moveTo>
                    <a:pt x="55917" y="2291"/>
                  </a:moveTo>
                  <a:lnTo>
                    <a:pt x="57469" y="2291"/>
                  </a:lnTo>
                  <a:lnTo>
                    <a:pt x="59702" y="97661"/>
                  </a:lnTo>
                  <a:lnTo>
                    <a:pt x="58128" y="97661"/>
                  </a:lnTo>
                  <a:lnTo>
                    <a:pt x="57682" y="76181"/>
                  </a:lnTo>
                  <a:lnTo>
                    <a:pt x="55662" y="76181"/>
                  </a:lnTo>
                  <a:lnTo>
                    <a:pt x="55216" y="97661"/>
                  </a:lnTo>
                  <a:lnTo>
                    <a:pt x="53664" y="97661"/>
                  </a:lnTo>
                  <a:lnTo>
                    <a:pt x="55917" y="2291"/>
                  </a:lnTo>
                  <a:close/>
                  <a:moveTo>
                    <a:pt x="60042" y="69594"/>
                  </a:moveTo>
                  <a:lnTo>
                    <a:pt x="61573" y="69594"/>
                  </a:lnTo>
                  <a:cubicBezTo>
                    <a:pt x="61615" y="73317"/>
                    <a:pt x="61679" y="76181"/>
                    <a:pt x="61764" y="77899"/>
                  </a:cubicBezTo>
                  <a:cubicBezTo>
                    <a:pt x="61934" y="81622"/>
                    <a:pt x="62189" y="83627"/>
                    <a:pt x="62530" y="83627"/>
                  </a:cubicBezTo>
                  <a:cubicBezTo>
                    <a:pt x="62849" y="83627"/>
                    <a:pt x="63082" y="82195"/>
                    <a:pt x="63231" y="79904"/>
                  </a:cubicBezTo>
                  <a:cubicBezTo>
                    <a:pt x="63380" y="77613"/>
                    <a:pt x="63465" y="75035"/>
                    <a:pt x="63465" y="71599"/>
                  </a:cubicBezTo>
                  <a:cubicBezTo>
                    <a:pt x="63465" y="68162"/>
                    <a:pt x="63338" y="65011"/>
                    <a:pt x="63104" y="62434"/>
                  </a:cubicBezTo>
                  <a:cubicBezTo>
                    <a:pt x="62997" y="61002"/>
                    <a:pt x="62849" y="60143"/>
                    <a:pt x="62678" y="58997"/>
                  </a:cubicBezTo>
                  <a:cubicBezTo>
                    <a:pt x="62636" y="58711"/>
                    <a:pt x="62466" y="57852"/>
                    <a:pt x="62168" y="56420"/>
                  </a:cubicBezTo>
                  <a:cubicBezTo>
                    <a:pt x="61594" y="53842"/>
                    <a:pt x="61169" y="50978"/>
                    <a:pt x="60914" y="48114"/>
                  </a:cubicBezTo>
                  <a:cubicBezTo>
                    <a:pt x="60382" y="42673"/>
                    <a:pt x="60127" y="35513"/>
                    <a:pt x="60127" y="26634"/>
                  </a:cubicBezTo>
                  <a:cubicBezTo>
                    <a:pt x="60127" y="18902"/>
                    <a:pt x="60318" y="12887"/>
                    <a:pt x="60680" y="8019"/>
                  </a:cubicBezTo>
                  <a:cubicBezTo>
                    <a:pt x="61063" y="2577"/>
                    <a:pt x="61637" y="0"/>
                    <a:pt x="62338" y="0"/>
                  </a:cubicBezTo>
                  <a:cubicBezTo>
                    <a:pt x="63231" y="0"/>
                    <a:pt x="63890" y="4009"/>
                    <a:pt x="64337" y="12315"/>
                  </a:cubicBezTo>
                  <a:cubicBezTo>
                    <a:pt x="64528" y="16038"/>
                    <a:pt x="64677" y="21193"/>
                    <a:pt x="64741" y="27207"/>
                  </a:cubicBezTo>
                  <a:lnTo>
                    <a:pt x="63253" y="27207"/>
                  </a:lnTo>
                  <a:cubicBezTo>
                    <a:pt x="63210" y="23770"/>
                    <a:pt x="63125" y="20906"/>
                    <a:pt x="62997" y="19188"/>
                  </a:cubicBezTo>
                  <a:cubicBezTo>
                    <a:pt x="62827" y="17183"/>
                    <a:pt x="62615" y="16324"/>
                    <a:pt x="62317" y="16324"/>
                  </a:cubicBezTo>
                  <a:cubicBezTo>
                    <a:pt x="62083" y="16324"/>
                    <a:pt x="61892" y="17183"/>
                    <a:pt x="61764" y="18615"/>
                  </a:cubicBezTo>
                  <a:cubicBezTo>
                    <a:pt x="61615" y="20334"/>
                    <a:pt x="61530" y="22911"/>
                    <a:pt x="61530" y="26062"/>
                  </a:cubicBezTo>
                  <a:cubicBezTo>
                    <a:pt x="61530" y="29498"/>
                    <a:pt x="61658" y="32362"/>
                    <a:pt x="61892" y="34653"/>
                  </a:cubicBezTo>
                  <a:cubicBezTo>
                    <a:pt x="62062" y="36372"/>
                    <a:pt x="62402" y="38377"/>
                    <a:pt x="62912" y="40668"/>
                  </a:cubicBezTo>
                  <a:cubicBezTo>
                    <a:pt x="63508" y="43245"/>
                    <a:pt x="63975" y="46109"/>
                    <a:pt x="64294" y="49832"/>
                  </a:cubicBezTo>
                  <a:cubicBezTo>
                    <a:pt x="64783" y="54701"/>
                    <a:pt x="65017" y="61575"/>
                    <a:pt x="65017" y="70453"/>
                  </a:cubicBezTo>
                  <a:cubicBezTo>
                    <a:pt x="65017" y="79045"/>
                    <a:pt x="64805" y="86205"/>
                    <a:pt x="64358" y="91360"/>
                  </a:cubicBezTo>
                  <a:cubicBezTo>
                    <a:pt x="63890" y="97088"/>
                    <a:pt x="63274" y="99952"/>
                    <a:pt x="62508" y="99952"/>
                  </a:cubicBezTo>
                  <a:cubicBezTo>
                    <a:pt x="61594" y="99952"/>
                    <a:pt x="60914" y="95369"/>
                    <a:pt x="60467" y="85918"/>
                  </a:cubicBezTo>
                  <a:cubicBezTo>
                    <a:pt x="60233" y="81336"/>
                    <a:pt x="60085" y="75894"/>
                    <a:pt x="60042" y="69594"/>
                  </a:cubicBezTo>
                  <a:close/>
                  <a:moveTo>
                    <a:pt x="70822" y="97661"/>
                  </a:moveTo>
                  <a:lnTo>
                    <a:pt x="69121" y="97661"/>
                  </a:lnTo>
                  <a:lnTo>
                    <a:pt x="67186" y="2291"/>
                  </a:lnTo>
                  <a:lnTo>
                    <a:pt x="68781" y="2291"/>
                  </a:lnTo>
                  <a:lnTo>
                    <a:pt x="70014" y="71026"/>
                  </a:lnTo>
                  <a:lnTo>
                    <a:pt x="71226" y="2291"/>
                  </a:lnTo>
                  <a:lnTo>
                    <a:pt x="72778" y="2291"/>
                  </a:lnTo>
                  <a:lnTo>
                    <a:pt x="70822" y="97661"/>
                  </a:lnTo>
                  <a:close/>
                  <a:moveTo>
                    <a:pt x="73543" y="97661"/>
                  </a:moveTo>
                  <a:lnTo>
                    <a:pt x="73543" y="2291"/>
                  </a:lnTo>
                  <a:lnTo>
                    <a:pt x="78072" y="2291"/>
                  </a:lnTo>
                  <a:lnTo>
                    <a:pt x="78072" y="19761"/>
                  </a:lnTo>
                  <a:lnTo>
                    <a:pt x="75053" y="19761"/>
                  </a:lnTo>
                  <a:lnTo>
                    <a:pt x="75053" y="40095"/>
                  </a:lnTo>
                  <a:lnTo>
                    <a:pt x="77795" y="40095"/>
                  </a:lnTo>
                  <a:lnTo>
                    <a:pt x="77795" y="56706"/>
                  </a:lnTo>
                  <a:lnTo>
                    <a:pt x="75053" y="56706"/>
                  </a:lnTo>
                  <a:lnTo>
                    <a:pt x="75053" y="80190"/>
                  </a:lnTo>
                  <a:lnTo>
                    <a:pt x="78136" y="80190"/>
                  </a:lnTo>
                  <a:lnTo>
                    <a:pt x="78136" y="97661"/>
                  </a:lnTo>
                  <a:lnTo>
                    <a:pt x="73543" y="97661"/>
                  </a:lnTo>
                  <a:close/>
                  <a:moveTo>
                    <a:pt x="80857" y="44677"/>
                  </a:moveTo>
                  <a:lnTo>
                    <a:pt x="81686" y="44677"/>
                  </a:lnTo>
                  <a:cubicBezTo>
                    <a:pt x="82154" y="44677"/>
                    <a:pt x="82473" y="43245"/>
                    <a:pt x="82643" y="40668"/>
                  </a:cubicBezTo>
                  <a:cubicBezTo>
                    <a:pt x="82792" y="38377"/>
                    <a:pt x="82856" y="35226"/>
                    <a:pt x="82856" y="31217"/>
                  </a:cubicBezTo>
                  <a:cubicBezTo>
                    <a:pt x="82856" y="26348"/>
                    <a:pt x="82749" y="22625"/>
                    <a:pt x="82494" y="20334"/>
                  </a:cubicBezTo>
                  <a:cubicBezTo>
                    <a:pt x="82345" y="19188"/>
                    <a:pt x="82090" y="18329"/>
                    <a:pt x="81729" y="18329"/>
                  </a:cubicBezTo>
                  <a:lnTo>
                    <a:pt x="80857" y="18329"/>
                  </a:lnTo>
                  <a:lnTo>
                    <a:pt x="80857" y="44677"/>
                  </a:lnTo>
                  <a:close/>
                  <a:moveTo>
                    <a:pt x="79347" y="97661"/>
                  </a:moveTo>
                  <a:lnTo>
                    <a:pt x="79347" y="2291"/>
                  </a:lnTo>
                  <a:lnTo>
                    <a:pt x="82069" y="2291"/>
                  </a:lnTo>
                  <a:cubicBezTo>
                    <a:pt x="82771" y="2291"/>
                    <a:pt x="83323" y="4295"/>
                    <a:pt x="83706" y="8591"/>
                  </a:cubicBezTo>
                  <a:cubicBezTo>
                    <a:pt x="84153" y="13174"/>
                    <a:pt x="84386" y="20047"/>
                    <a:pt x="84386" y="28926"/>
                  </a:cubicBezTo>
                  <a:cubicBezTo>
                    <a:pt x="84386" y="36085"/>
                    <a:pt x="84238" y="42100"/>
                    <a:pt x="83919" y="46968"/>
                  </a:cubicBezTo>
                  <a:cubicBezTo>
                    <a:pt x="83770" y="49260"/>
                    <a:pt x="83600" y="50978"/>
                    <a:pt x="83366" y="52410"/>
                  </a:cubicBezTo>
                  <a:cubicBezTo>
                    <a:pt x="83664" y="53556"/>
                    <a:pt x="83876" y="56133"/>
                    <a:pt x="84046" y="59856"/>
                  </a:cubicBezTo>
                  <a:cubicBezTo>
                    <a:pt x="84131" y="61861"/>
                    <a:pt x="84216" y="65298"/>
                    <a:pt x="84259" y="69594"/>
                  </a:cubicBezTo>
                  <a:cubicBezTo>
                    <a:pt x="84280" y="71312"/>
                    <a:pt x="84323" y="75894"/>
                    <a:pt x="84344" y="83914"/>
                  </a:cubicBezTo>
                  <a:cubicBezTo>
                    <a:pt x="84386" y="89069"/>
                    <a:pt x="84429" y="92219"/>
                    <a:pt x="84472" y="93937"/>
                  </a:cubicBezTo>
                  <a:cubicBezTo>
                    <a:pt x="84493" y="95083"/>
                    <a:pt x="84535" y="96229"/>
                    <a:pt x="84599" y="97661"/>
                  </a:cubicBezTo>
                  <a:lnTo>
                    <a:pt x="83026" y="97661"/>
                  </a:lnTo>
                  <a:cubicBezTo>
                    <a:pt x="82983" y="95942"/>
                    <a:pt x="82941" y="94224"/>
                    <a:pt x="82919" y="92219"/>
                  </a:cubicBezTo>
                  <a:cubicBezTo>
                    <a:pt x="82919" y="91073"/>
                    <a:pt x="82898" y="86778"/>
                    <a:pt x="82856" y="79904"/>
                  </a:cubicBezTo>
                  <a:cubicBezTo>
                    <a:pt x="82813" y="73317"/>
                    <a:pt x="82749" y="68735"/>
                    <a:pt x="82664" y="66730"/>
                  </a:cubicBezTo>
                  <a:cubicBezTo>
                    <a:pt x="82558" y="63579"/>
                    <a:pt x="82409" y="61575"/>
                    <a:pt x="82197" y="60715"/>
                  </a:cubicBezTo>
                  <a:cubicBezTo>
                    <a:pt x="82090" y="60429"/>
                    <a:pt x="81920" y="60143"/>
                    <a:pt x="81729" y="60143"/>
                  </a:cubicBezTo>
                  <a:lnTo>
                    <a:pt x="80857" y="60143"/>
                  </a:lnTo>
                  <a:lnTo>
                    <a:pt x="80857" y="97661"/>
                  </a:lnTo>
                  <a:lnTo>
                    <a:pt x="79347" y="97661"/>
                  </a:lnTo>
                  <a:close/>
                  <a:moveTo>
                    <a:pt x="87236" y="81336"/>
                  </a:moveTo>
                  <a:lnTo>
                    <a:pt x="88065" y="81336"/>
                  </a:lnTo>
                  <a:cubicBezTo>
                    <a:pt x="88490" y="81336"/>
                    <a:pt x="88788" y="80190"/>
                    <a:pt x="88958" y="78472"/>
                  </a:cubicBezTo>
                  <a:cubicBezTo>
                    <a:pt x="89192" y="75894"/>
                    <a:pt x="89298" y="72458"/>
                    <a:pt x="89298" y="68162"/>
                  </a:cubicBezTo>
                  <a:cubicBezTo>
                    <a:pt x="89298" y="62720"/>
                    <a:pt x="89149" y="58997"/>
                    <a:pt x="88851" y="56992"/>
                  </a:cubicBezTo>
                  <a:cubicBezTo>
                    <a:pt x="88681" y="55560"/>
                    <a:pt x="88405" y="54988"/>
                    <a:pt x="88001" y="54988"/>
                  </a:cubicBezTo>
                  <a:lnTo>
                    <a:pt x="87236" y="54988"/>
                  </a:lnTo>
                  <a:lnTo>
                    <a:pt x="87236" y="81336"/>
                  </a:lnTo>
                  <a:close/>
                  <a:moveTo>
                    <a:pt x="87236" y="40668"/>
                  </a:moveTo>
                  <a:lnTo>
                    <a:pt x="87916" y="40668"/>
                  </a:lnTo>
                  <a:cubicBezTo>
                    <a:pt x="88299" y="40668"/>
                    <a:pt x="88554" y="40095"/>
                    <a:pt x="88724" y="38377"/>
                  </a:cubicBezTo>
                  <a:cubicBezTo>
                    <a:pt x="88936" y="36372"/>
                    <a:pt x="89043" y="33221"/>
                    <a:pt x="89043" y="29212"/>
                  </a:cubicBezTo>
                  <a:cubicBezTo>
                    <a:pt x="89043" y="24916"/>
                    <a:pt x="88915" y="21766"/>
                    <a:pt x="88660" y="20047"/>
                  </a:cubicBezTo>
                  <a:cubicBezTo>
                    <a:pt x="88511" y="18902"/>
                    <a:pt x="88277" y="18329"/>
                    <a:pt x="87916" y="18329"/>
                  </a:cubicBezTo>
                  <a:lnTo>
                    <a:pt x="87236" y="18329"/>
                  </a:lnTo>
                  <a:lnTo>
                    <a:pt x="87236" y="40668"/>
                  </a:lnTo>
                  <a:close/>
                  <a:moveTo>
                    <a:pt x="85726" y="97661"/>
                  </a:moveTo>
                  <a:lnTo>
                    <a:pt x="85726" y="2291"/>
                  </a:lnTo>
                  <a:lnTo>
                    <a:pt x="88256" y="2291"/>
                  </a:lnTo>
                  <a:cubicBezTo>
                    <a:pt x="88745" y="2291"/>
                    <a:pt x="89149" y="2863"/>
                    <a:pt x="89404" y="4009"/>
                  </a:cubicBezTo>
                  <a:cubicBezTo>
                    <a:pt x="89808" y="6014"/>
                    <a:pt x="90106" y="8878"/>
                    <a:pt x="90297" y="13174"/>
                  </a:cubicBezTo>
                  <a:cubicBezTo>
                    <a:pt x="90467" y="16897"/>
                    <a:pt x="90552" y="20906"/>
                    <a:pt x="90552" y="25489"/>
                  </a:cubicBezTo>
                  <a:cubicBezTo>
                    <a:pt x="90552" y="34940"/>
                    <a:pt x="90212" y="41527"/>
                    <a:pt x="89532" y="45823"/>
                  </a:cubicBezTo>
                  <a:cubicBezTo>
                    <a:pt x="90382" y="49832"/>
                    <a:pt x="90829" y="57565"/>
                    <a:pt x="90829" y="69594"/>
                  </a:cubicBezTo>
                  <a:cubicBezTo>
                    <a:pt x="90829" y="79904"/>
                    <a:pt x="90531" y="87637"/>
                    <a:pt x="89957" y="92792"/>
                  </a:cubicBezTo>
                  <a:cubicBezTo>
                    <a:pt x="89596" y="95942"/>
                    <a:pt x="89107" y="97661"/>
                    <a:pt x="88490" y="97661"/>
                  </a:cubicBezTo>
                  <a:lnTo>
                    <a:pt x="85726" y="97661"/>
                  </a:lnTo>
                  <a:close/>
                  <a:moveTo>
                    <a:pt x="91913" y="97661"/>
                  </a:moveTo>
                  <a:lnTo>
                    <a:pt x="91913" y="2291"/>
                  </a:lnTo>
                  <a:lnTo>
                    <a:pt x="93444" y="2291"/>
                  </a:lnTo>
                  <a:lnTo>
                    <a:pt x="93444" y="97661"/>
                  </a:lnTo>
                  <a:lnTo>
                    <a:pt x="91913" y="97661"/>
                  </a:lnTo>
                  <a:close/>
                  <a:moveTo>
                    <a:pt x="94826" y="97661"/>
                  </a:moveTo>
                  <a:lnTo>
                    <a:pt x="94826" y="2291"/>
                  </a:lnTo>
                  <a:lnTo>
                    <a:pt x="96357" y="2291"/>
                  </a:lnTo>
                  <a:lnTo>
                    <a:pt x="98589" y="63579"/>
                  </a:lnTo>
                  <a:lnTo>
                    <a:pt x="98589" y="2291"/>
                  </a:lnTo>
                  <a:lnTo>
                    <a:pt x="100035" y="2291"/>
                  </a:lnTo>
                  <a:lnTo>
                    <a:pt x="100035" y="97661"/>
                  </a:lnTo>
                  <a:lnTo>
                    <a:pt x="98525" y="97661"/>
                  </a:lnTo>
                  <a:lnTo>
                    <a:pt x="96272" y="36372"/>
                  </a:lnTo>
                  <a:lnTo>
                    <a:pt x="96272" y="97661"/>
                  </a:lnTo>
                  <a:lnTo>
                    <a:pt x="94826" y="97661"/>
                  </a:lnTo>
                  <a:close/>
                  <a:moveTo>
                    <a:pt x="102948" y="80190"/>
                  </a:moveTo>
                  <a:lnTo>
                    <a:pt x="103628" y="80190"/>
                  </a:lnTo>
                  <a:cubicBezTo>
                    <a:pt x="104160" y="80190"/>
                    <a:pt x="104564" y="78472"/>
                    <a:pt x="104798" y="75035"/>
                  </a:cubicBezTo>
                  <a:cubicBezTo>
                    <a:pt x="105180" y="69594"/>
                    <a:pt x="105372" y="61002"/>
                    <a:pt x="105372" y="49546"/>
                  </a:cubicBezTo>
                  <a:cubicBezTo>
                    <a:pt x="105372" y="39809"/>
                    <a:pt x="105201" y="32362"/>
                    <a:pt x="104883" y="26921"/>
                  </a:cubicBezTo>
                  <a:cubicBezTo>
                    <a:pt x="104606" y="22052"/>
                    <a:pt x="104181" y="19761"/>
                    <a:pt x="103586" y="19761"/>
                  </a:cubicBezTo>
                  <a:lnTo>
                    <a:pt x="102948" y="19761"/>
                  </a:lnTo>
                  <a:lnTo>
                    <a:pt x="102948" y="80190"/>
                  </a:lnTo>
                  <a:close/>
                  <a:moveTo>
                    <a:pt x="101417" y="97661"/>
                  </a:moveTo>
                  <a:lnTo>
                    <a:pt x="101417" y="2291"/>
                  </a:lnTo>
                  <a:lnTo>
                    <a:pt x="103607" y="2291"/>
                  </a:lnTo>
                  <a:cubicBezTo>
                    <a:pt x="104564" y="2291"/>
                    <a:pt x="105329" y="5727"/>
                    <a:pt x="105882" y="12601"/>
                  </a:cubicBezTo>
                  <a:cubicBezTo>
                    <a:pt x="106541" y="20906"/>
                    <a:pt x="106881" y="33221"/>
                    <a:pt x="106881" y="49832"/>
                  </a:cubicBezTo>
                  <a:cubicBezTo>
                    <a:pt x="106881" y="65584"/>
                    <a:pt x="106562" y="77899"/>
                    <a:pt x="105924" y="86491"/>
                  </a:cubicBezTo>
                  <a:cubicBezTo>
                    <a:pt x="105584" y="91360"/>
                    <a:pt x="105180" y="94510"/>
                    <a:pt x="104734" y="95942"/>
                  </a:cubicBezTo>
                  <a:cubicBezTo>
                    <a:pt x="104415" y="97088"/>
                    <a:pt x="104032" y="97661"/>
                    <a:pt x="103607" y="97661"/>
                  </a:cubicBezTo>
                  <a:lnTo>
                    <a:pt x="101417" y="97661"/>
                  </a:lnTo>
                  <a:close/>
                  <a:moveTo>
                    <a:pt x="107965" y="97661"/>
                  </a:moveTo>
                  <a:lnTo>
                    <a:pt x="107965" y="2291"/>
                  </a:lnTo>
                  <a:lnTo>
                    <a:pt x="112494" y="2291"/>
                  </a:lnTo>
                  <a:lnTo>
                    <a:pt x="112494" y="19761"/>
                  </a:lnTo>
                  <a:lnTo>
                    <a:pt x="109496" y="19761"/>
                  </a:lnTo>
                  <a:lnTo>
                    <a:pt x="109496" y="40095"/>
                  </a:lnTo>
                  <a:lnTo>
                    <a:pt x="112218" y="40095"/>
                  </a:lnTo>
                  <a:lnTo>
                    <a:pt x="112218" y="56706"/>
                  </a:lnTo>
                  <a:lnTo>
                    <a:pt x="109496" y="56706"/>
                  </a:lnTo>
                  <a:lnTo>
                    <a:pt x="109496" y="80190"/>
                  </a:lnTo>
                  <a:lnTo>
                    <a:pt x="112558" y="80190"/>
                  </a:lnTo>
                  <a:lnTo>
                    <a:pt x="112558" y="97661"/>
                  </a:lnTo>
                  <a:lnTo>
                    <a:pt x="107965" y="97661"/>
                  </a:lnTo>
                  <a:close/>
                  <a:moveTo>
                    <a:pt x="115024" y="97661"/>
                  </a:moveTo>
                  <a:lnTo>
                    <a:pt x="115024" y="19761"/>
                  </a:lnTo>
                  <a:lnTo>
                    <a:pt x="113302" y="19761"/>
                  </a:lnTo>
                  <a:lnTo>
                    <a:pt x="113302" y="2291"/>
                  </a:lnTo>
                  <a:lnTo>
                    <a:pt x="118277" y="2291"/>
                  </a:lnTo>
                  <a:lnTo>
                    <a:pt x="118277" y="19761"/>
                  </a:lnTo>
                  <a:lnTo>
                    <a:pt x="116534" y="19761"/>
                  </a:lnTo>
                  <a:lnTo>
                    <a:pt x="116534" y="97661"/>
                  </a:lnTo>
                  <a:lnTo>
                    <a:pt x="115024" y="97661"/>
                  </a:lnTo>
                  <a:close/>
                  <a:moveTo>
                    <a:pt x="120000" y="77040"/>
                  </a:moveTo>
                  <a:lnTo>
                    <a:pt x="120000" y="97661"/>
                  </a:lnTo>
                  <a:lnTo>
                    <a:pt x="118447" y="97661"/>
                  </a:lnTo>
                  <a:lnTo>
                    <a:pt x="118447" y="77040"/>
                  </a:lnTo>
                  <a:lnTo>
                    <a:pt x="120000" y="7704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Shape 10"/>
            <p:cNvSpPr/>
            <p:nvPr/>
          </p:nvSpPr>
          <p:spPr>
            <a:xfrm>
              <a:off x="321317" y="6153149"/>
              <a:ext cx="760793" cy="3714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3" y="55201"/>
                  </a:moveTo>
                  <a:lnTo>
                    <a:pt x="12039" y="55201"/>
                  </a:lnTo>
                  <a:lnTo>
                    <a:pt x="12039" y="79603"/>
                  </a:lnTo>
                  <a:lnTo>
                    <a:pt x="43" y="79603"/>
                  </a:lnTo>
                  <a:lnTo>
                    <a:pt x="43" y="55201"/>
                  </a:lnTo>
                  <a:close/>
                  <a:moveTo>
                    <a:pt x="28560" y="94318"/>
                  </a:moveTo>
                  <a:cubicBezTo>
                    <a:pt x="28560" y="102086"/>
                    <a:pt x="29132" y="107022"/>
                    <a:pt x="30230" y="109398"/>
                  </a:cubicBezTo>
                  <a:cubicBezTo>
                    <a:pt x="31197" y="111317"/>
                    <a:pt x="32779" y="112597"/>
                    <a:pt x="35020" y="113054"/>
                  </a:cubicBezTo>
                  <a:cubicBezTo>
                    <a:pt x="35723" y="113145"/>
                    <a:pt x="36821" y="113145"/>
                    <a:pt x="38447" y="113145"/>
                  </a:cubicBezTo>
                  <a:lnTo>
                    <a:pt x="38447" y="120000"/>
                  </a:lnTo>
                  <a:lnTo>
                    <a:pt x="9622" y="120000"/>
                  </a:lnTo>
                  <a:lnTo>
                    <a:pt x="9622" y="113145"/>
                  </a:lnTo>
                  <a:cubicBezTo>
                    <a:pt x="11907" y="113145"/>
                    <a:pt x="13621" y="112962"/>
                    <a:pt x="14719" y="112505"/>
                  </a:cubicBezTo>
                  <a:cubicBezTo>
                    <a:pt x="16960" y="111591"/>
                    <a:pt x="18366" y="108941"/>
                    <a:pt x="18938" y="104554"/>
                  </a:cubicBezTo>
                  <a:cubicBezTo>
                    <a:pt x="19245" y="102269"/>
                    <a:pt x="19421" y="98888"/>
                    <a:pt x="19421" y="94318"/>
                  </a:cubicBezTo>
                  <a:lnTo>
                    <a:pt x="19421" y="5757"/>
                  </a:lnTo>
                  <a:cubicBezTo>
                    <a:pt x="14500" y="6031"/>
                    <a:pt x="10677" y="9322"/>
                    <a:pt x="7909" y="15628"/>
                  </a:cubicBezTo>
                  <a:cubicBezTo>
                    <a:pt x="5316" y="21751"/>
                    <a:pt x="3690" y="30982"/>
                    <a:pt x="3119" y="43412"/>
                  </a:cubicBezTo>
                  <a:lnTo>
                    <a:pt x="0" y="42315"/>
                  </a:lnTo>
                  <a:lnTo>
                    <a:pt x="571" y="0"/>
                  </a:lnTo>
                  <a:lnTo>
                    <a:pt x="47499" y="0"/>
                  </a:lnTo>
                  <a:lnTo>
                    <a:pt x="48070" y="42315"/>
                  </a:lnTo>
                  <a:lnTo>
                    <a:pt x="44950" y="43412"/>
                  </a:lnTo>
                  <a:cubicBezTo>
                    <a:pt x="44379" y="30982"/>
                    <a:pt x="42753" y="21751"/>
                    <a:pt x="40117" y="15628"/>
                  </a:cubicBezTo>
                  <a:cubicBezTo>
                    <a:pt x="37348" y="9322"/>
                    <a:pt x="33482" y="6031"/>
                    <a:pt x="28560" y="5757"/>
                  </a:cubicBezTo>
                  <a:lnTo>
                    <a:pt x="28560" y="94318"/>
                  </a:lnTo>
                  <a:close/>
                  <a:moveTo>
                    <a:pt x="36206" y="55201"/>
                  </a:moveTo>
                  <a:lnTo>
                    <a:pt x="48158" y="55201"/>
                  </a:lnTo>
                  <a:lnTo>
                    <a:pt x="48158" y="79603"/>
                  </a:lnTo>
                  <a:lnTo>
                    <a:pt x="36206" y="79603"/>
                  </a:lnTo>
                  <a:lnTo>
                    <a:pt x="36206" y="55201"/>
                  </a:lnTo>
                  <a:close/>
                  <a:moveTo>
                    <a:pt x="72105" y="55201"/>
                  </a:moveTo>
                  <a:lnTo>
                    <a:pt x="84101" y="55201"/>
                  </a:lnTo>
                  <a:lnTo>
                    <a:pt x="84101" y="79603"/>
                  </a:lnTo>
                  <a:lnTo>
                    <a:pt x="72105" y="79603"/>
                  </a:lnTo>
                  <a:lnTo>
                    <a:pt x="72105" y="55201"/>
                  </a:lnTo>
                  <a:close/>
                  <a:moveTo>
                    <a:pt x="108048" y="55201"/>
                  </a:moveTo>
                  <a:lnTo>
                    <a:pt x="120000" y="55201"/>
                  </a:lnTo>
                  <a:lnTo>
                    <a:pt x="120000" y="79603"/>
                  </a:lnTo>
                  <a:lnTo>
                    <a:pt x="108048" y="79603"/>
                  </a:lnTo>
                  <a:lnTo>
                    <a:pt x="108048" y="5520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868511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17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3447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9" name="Shape 169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86452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7" name="Shape 127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5672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20,00€ WifiRouter</a:t>
            </a:r>
          </a:p>
          <a:p>
            <a:r>
              <a:rPr lang="de-DE" dirty="0" smtClean="0"/>
              <a:t>6,80€ Raspberry Zero</a:t>
            </a:r>
          </a:p>
          <a:p>
            <a:r>
              <a:rPr lang="de-DE" dirty="0" smtClean="0"/>
              <a:t>30,00€ Air Quality</a:t>
            </a:r>
          </a:p>
          <a:p>
            <a:r>
              <a:rPr lang="de-DE" dirty="0" smtClean="0"/>
              <a:t>3,80€ * 3 Arduino</a:t>
            </a:r>
          </a:p>
          <a:p>
            <a:r>
              <a:rPr lang="de-DE" dirty="0" smtClean="0"/>
              <a:t>3,80€ * 4 Funkmodul</a:t>
            </a:r>
          </a:p>
          <a:p>
            <a:r>
              <a:rPr lang="de-DE" dirty="0" smtClean="0"/>
              <a:t>2,10€ Temparatut/Luftfeuchtigkeit</a:t>
            </a:r>
          </a:p>
          <a:p>
            <a:r>
              <a:rPr lang="de-DE" dirty="0" smtClean="0"/>
              <a:t>1,60€ Bewegungsmelder</a:t>
            </a:r>
          </a:p>
          <a:p>
            <a:r>
              <a:rPr lang="de-DE" dirty="0" smtClean="0"/>
              <a:t>2,30€ Helligkeitssensor</a:t>
            </a:r>
          </a:p>
          <a:p>
            <a:r>
              <a:rPr lang="de-DE" dirty="0" smtClean="0"/>
              <a:t>6,00€ NodeMC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F6A8607F-DCDB-41EA-B8E4-C6DE3890DF82}" type="datetime1">
              <a:rPr lang="de-DE" smtClean="0"/>
              <a:t>06.10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156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Was machen wir?</a:t>
            </a:r>
          </a:p>
          <a:p>
            <a:pPr marL="0" indent="0">
              <a:buNone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pp-Konzeptio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Zentraler Anlaufpunkt (Infos, Funktionalitäten,..)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Integration von HHZ-Projekte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Authentifizierung als Student/Professor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Umfrage: Was soll die App können?</a:t>
            </a:r>
          </a:p>
          <a:p>
            <a:pPr lvl="1"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uswahl des App-Frameworks?</a:t>
            </a:r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Programmierung der App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3126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de-DE" dirty="0" smtClean="0"/>
              <a:t>Home-Connect-Schnittstelle (Smart Home Geräte aus dem Innovationsraum anbinden)</a:t>
            </a:r>
          </a:p>
          <a:p>
            <a:pPr>
              <a:buFont typeface="Arial" charset="0"/>
              <a:buChar char="•"/>
            </a:pPr>
            <a:r>
              <a:rPr lang="de-DE" dirty="0" smtClean="0"/>
              <a:t>Smart Contracts </a:t>
            </a: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re solved automatically and do not need human interventio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lso the contract maintenance is automated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For implementation a blockchain is used and acts like a decentralized database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he blockchain is considered as tamper-proof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6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3859200" y="6440412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" name="Shape 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11200" y="6403560"/>
            <a:ext cx="1701168" cy="45422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Shape 23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44096"/>
            <a:ext cx="9060437" cy="35924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el und vertikaler 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kaler Titel und 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 txBox="1">
            <a:spLocks noGrp="1"/>
          </p:cNvSpPr>
          <p:nvPr>
            <p:ph type="title"/>
          </p:nvPr>
        </p:nvSpPr>
        <p:spPr>
          <a:xfrm rot="5400000">
            <a:off x="4623593" y="2285206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84" name="Shape 84"/>
          <p:cNvSpPr txBox="1">
            <a:spLocks noGrp="1"/>
          </p:cNvSpPr>
          <p:nvPr>
            <p:ph type="body" idx="1"/>
          </p:nvPr>
        </p:nvSpPr>
        <p:spPr>
          <a:xfrm rot="5400000">
            <a:off x="623093" y="370681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Zwei Inhalte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2" name="Shape 92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" name="Shape 93"/>
          <p:cNvSpPr txBox="1">
            <a:spLocks noGrp="1"/>
          </p:cNvSpPr>
          <p:nvPr>
            <p:ph type="body" idx="2"/>
          </p:nvPr>
        </p:nvSpPr>
        <p:spPr>
          <a:xfrm>
            <a:off x="6076010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Shape 97"/>
          <p:cNvSpPr txBox="1">
            <a:spLocks noGrp="1"/>
          </p:cNvSpPr>
          <p:nvPr>
            <p:ph type="body" idx="3"/>
          </p:nvPr>
        </p:nvSpPr>
        <p:spPr>
          <a:xfrm>
            <a:off x="3190404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Zwei Inhalt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Shape 99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0" name="Shape 100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028826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" name="Shape 101"/>
          <p:cNvSpPr txBox="1">
            <a:spLocks noGrp="1"/>
          </p:cNvSpPr>
          <p:nvPr>
            <p:ph type="body" idx="2"/>
          </p:nvPr>
        </p:nvSpPr>
        <p:spPr>
          <a:xfrm>
            <a:off x="4627575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Shape 105"/>
          <p:cNvSpPr txBox="1">
            <a:spLocks noGrp="1"/>
          </p:cNvSpPr>
          <p:nvPr>
            <p:ph type="body" idx="3"/>
          </p:nvPr>
        </p:nvSpPr>
        <p:spPr>
          <a:xfrm>
            <a:off x="246540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Shape 106"/>
          <p:cNvSpPr txBox="1">
            <a:spLocks noGrp="1"/>
          </p:cNvSpPr>
          <p:nvPr>
            <p:ph type="body" idx="4"/>
          </p:nvPr>
        </p:nvSpPr>
        <p:spPr>
          <a:xfrm>
            <a:off x="678975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igationsleiste_Trennfolie_Grau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/>
          <p:nvPr/>
        </p:nvSpPr>
        <p:spPr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 txBox="1"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lt1"/>
              </a:buClr>
              <a:buFont typeface="Franklin Gothic"/>
              <a:buNone/>
              <a:defRPr sz="60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0" name="Shape 110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3916800" y="6360225"/>
            <a:ext cx="215775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>
            <a:lvl1pPr algn="ctr">
              <a:defRPr/>
            </a:lvl1pPr>
          </a:lstStyle>
          <a:p>
            <a:pPr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60673" y="6298469"/>
            <a:ext cx="1800171" cy="480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Shape 29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00761"/>
            <a:ext cx="9060437" cy="359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Shape 30" descr="PPT_Logo_INF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748478" y="328591"/>
            <a:ext cx="1720232" cy="5386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 überschrif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accent4"/>
              </a:buClr>
              <a:buSzPct val="100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Inhalt mit Überschrif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190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381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Bild mit Überschrif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3543300" y="6413055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 algn="ctr"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17" name="Shape 17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296643" y="6413055"/>
            <a:ext cx="2383433" cy="39388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7" Type="http://schemas.openxmlformats.org/officeDocument/2006/relationships/hyperlink" Target="https://github.com/Bariumm/HHZ_IoT" TargetMode="Externa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4" Type="http://schemas.openxmlformats.org/officeDocument/2006/relationships/image" Target="../media/image16.jpg"/><Relationship Id="rId5" Type="http://schemas.openxmlformats.org/officeDocument/2006/relationships/image" Target="../media/image17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4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9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0.tif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8.jpg"/><Relationship Id="rId3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0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tiff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Digital HHZ</a:t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Abderraouf Gharbi, Julia Hain, Valeria Kinitzki, Peter Kühfuß, Manh Phi Nguyen, Natascha Sigle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GitHub Repository: 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https://github.com/Bariumm/HHZ_IoT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47500" lnSpcReduction="20000"/>
          </a:bodyPr>
          <a:lstStyle/>
          <a:p>
            <a:pPr algn="l"/>
            <a:r>
              <a:rPr lang="de-DE" dirty="0" smtClean="0">
                <a:latin typeface="Franklin Gothic Book" charset="0"/>
                <a:ea typeface="Franklin Gothic Book" charset="0"/>
                <a:cs typeface="Franklin Gothic Book" charset="0"/>
              </a:rPr>
              <a:t>Modul Projekt 1, Prof. Decker, 06.10.2017</a:t>
            </a:r>
            <a:endParaRPr lang="de-DE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221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270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Humidity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ight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H 1750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tion </a:t>
            </a:r>
            <a:r>
              <a:rPr lang="mr-IN" sz="1800" dirty="0">
                <a:latin typeface="Franklin Gothic Book" charset="0"/>
                <a:ea typeface="Franklin Gothic Book" charset="0"/>
                <a:cs typeface="Franklin Gothic Book" charset="0"/>
              </a:rPr>
              <a:t>HC-SR501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ir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quality REHAU air quality sensor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61Ru8GOWVSL._SL11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51ImjMAM0RL._SL1024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618%2BQ00JWPL._SL15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 </a:t>
            </a: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71ydhfTurjL._SL117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9200" y="762076"/>
            <a:ext cx="1600200" cy="16002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480" y="1170290"/>
            <a:ext cx="2107870" cy="2107870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99"/>
          <a:stretch/>
        </p:blipFill>
        <p:spPr>
          <a:xfrm>
            <a:off x="4887900" y="2067566"/>
            <a:ext cx="1514104" cy="1250655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6204" y="2979792"/>
            <a:ext cx="1629146" cy="1629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5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A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duin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nano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adi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module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NodeMCU</a:t>
            </a:r>
            <a:endParaRPr lang="de-DE" sz="19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R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aspberry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Pi 3</a:t>
            </a:r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81o-NG5RNeL._SL150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096" y="1954138"/>
            <a:ext cx="3808756" cy="238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7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Pla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0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5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6: air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quality</a:t>
            </a: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75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Humidity Sensor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59" y="1238865"/>
            <a:ext cx="7432513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281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Motion Sensor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3" y="1322826"/>
            <a:ext cx="7761631" cy="471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97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 Infrastructure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757" y="1564536"/>
            <a:ext cx="7508485" cy="431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60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st Structu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One time cost for 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erver to run the necessary applications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Roo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Each room has the same sensor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otal cost of 76,40€ per room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63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verview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8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53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1552" y="1387245"/>
            <a:ext cx="6611913" cy="47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39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usiness Model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Project Management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Overview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ackathon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utlook</a:t>
            </a:r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3706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chnologi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ome Assistan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QT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ySensors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ocker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Telegram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QLit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ome-assistant.io/images/components/alexa/alexa-512x512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3u6cmn2fbv4r1slybd2uhm1e.wpengine.netdna-cdn.com/wp-content/uploads/2015/07/mqtt-logo-whiteb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pload.wikimedia.org/wikipedia/commons/thumb/4/42/MySensorsLogo.svg/1200px-MySensorsLogo.sv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elegram.org/img/t_logo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upload.wikimedia.org/wikipedia/commons/thumb/3/38/SQLite370.svg/1200px-SQLite370.svg.png</a:t>
            </a:r>
            <a:endParaRPr lang="de-DE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pic>
        <p:nvPicPr>
          <p:cNvPr id="299012" name="Picture 4" descr="Bildergebnis für homeassista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2179" y="888495"/>
            <a:ext cx="988559" cy="98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4" name="Picture 6" descr="http://3u6cmn2fbv4r1slybd2uhm1e.wpengine.netdna-cdn.com/wp-content/uploads/2015/07/mqtt-logo-whiteb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407" y="1690689"/>
            <a:ext cx="1936478" cy="96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6" name="Picture 8" descr="Bildergebnis für mysensor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031" y="2214058"/>
            <a:ext cx="2183937" cy="760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8" name="Picture 10" descr="Bildergebnis für Telegra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046" y="2770782"/>
            <a:ext cx="1304927" cy="1304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20" name="Picture 12" descr="Bildergebnis für sqlit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215" y="3363229"/>
            <a:ext cx="2086750" cy="98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402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Hackathon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1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465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ckathon Project 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>
                <a:latin typeface="Franklin Gothic Book" charset="0"/>
                <a:ea typeface="Franklin Gothic Book" charset="0"/>
                <a:cs typeface="Franklin Gothic Book" charset="0"/>
              </a:rPr>
              <a:t>Two projects originating in this year‘s IoT Hackathon are being merged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StayFocussed</a:t>
            </a:r>
            <a:r>
              <a:rPr lang="en-US" b="1" dirty="0" smtClean="0"/>
              <a:t>			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FarbenFROH</a:t>
            </a:r>
            <a:endParaRPr lang="en-US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479" y="3234008"/>
            <a:ext cx="3840807" cy="271527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714" y="3234008"/>
            <a:ext cx="3837625" cy="246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2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utlook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59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at are we going to do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onceptual app desig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entral touchpoint (infos, functionalities,..)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ntegration of various HHZ project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uthentication as student/professor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urvey: Which features should the app have?</a:t>
            </a:r>
          </a:p>
          <a:p>
            <a:pPr marL="171450" lvl="1" indent="-180000">
              <a:lnSpc>
                <a:spcPct val="80000"/>
              </a:lnSpc>
              <a:spcBef>
                <a:spcPts val="750"/>
              </a:spcBef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hoice of app framework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pplication programming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91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ich further ideas do we have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Home Connect 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interface</a:t>
            </a:r>
          </a:p>
          <a:p>
            <a:pPr lvl="1"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tegrate </a:t>
            </a: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he smart home objects currently in our innovation room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mart Contracts 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amper-proof implementation of automatic contracts via blockchain</a:t>
            </a: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02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 &amp; A</a:t>
            </a:r>
            <a:endParaRPr lang="de-DE" dirty="0"/>
          </a:p>
        </p:txBody>
      </p:sp>
      <p:pic>
        <p:nvPicPr>
          <p:cNvPr id="6" name="Grafik 5" descr="religio2eso - hom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00" y="1231900"/>
            <a:ext cx="4394200" cy="43942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6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746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usiness Model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661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Value Proposition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90" y="1463040"/>
            <a:ext cx="8010536" cy="38557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130414" y="1646935"/>
            <a:ext cx="1501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oom monitoring</a:t>
            </a:r>
          </a:p>
          <a:p>
            <a:pPr marL="171450" lvl="3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utomation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67300" y="2952145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41531" y="2503538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</a:t>
            </a: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udy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33567" y="2731840"/>
            <a:ext cx="987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ectu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33567" y="3763690"/>
            <a:ext cx="1081783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naging facilities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64461" y="3400453"/>
            <a:ext cx="1329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Bad air quality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64461" y="3649688"/>
            <a:ext cx="18165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oss of concentr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15421" y="1618875"/>
            <a:ext cx="23952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nitoring and 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93505" y="1858112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73662" y="3390900"/>
            <a:ext cx="1280704" cy="651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Notifications based on sensor data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4421" y="4698235"/>
            <a:ext cx="2700997" cy="4419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desired information per use case (student, lecturer ...)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5965" y="2347588"/>
            <a:ext cx="1316398" cy="9095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564" y="3763690"/>
            <a:ext cx="997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endParaRPr lang="de-DE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Business Model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424" y="1382886"/>
            <a:ext cx="7861935" cy="463223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2480" y="1760220"/>
            <a:ext cx="152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endors of hardware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Open source communities</a:t>
            </a:r>
            <a:endParaRPr lang="en-GB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93820" y="1760218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91350" y="1760216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Facility managemen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isito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417820" y="3345074"/>
            <a:ext cx="152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Physical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Digita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46960" y="3345074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oT device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 (network, servers)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3rd party (web) servic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2480" y="5036820"/>
            <a:ext cx="3840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cost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38387" y="1760220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llecting sensor data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UIs and API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intaining infrastru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35917" y="1705232"/>
            <a:ext cx="152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by study or contrac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aising awareness through digital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s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0" indent="0">
              <a:buNone/>
            </a:pP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s for different types of customer: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otification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Roominfo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 service</a:t>
            </a:r>
          </a:p>
          <a:p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5847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roject Management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158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M</a:t>
            </a:r>
            <a:r>
              <a:rPr lang="de-DE" dirty="0" smtClean="0"/>
              <a:t>anagement </a:t>
            </a:r>
            <a:r>
              <a:rPr lang="de-DE" dirty="0"/>
              <a:t>T</a:t>
            </a:r>
            <a:r>
              <a:rPr lang="de-DE" dirty="0" smtClean="0"/>
              <a:t>ools</a:t>
            </a:r>
            <a:endParaRPr lang="de-DE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963" y="1582318"/>
            <a:ext cx="4148465" cy="3255633"/>
          </a:xfr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11" y="1537992"/>
            <a:ext cx="2334161" cy="1750621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409" y="1690689"/>
            <a:ext cx="2198941" cy="967534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9" y="4551705"/>
            <a:ext cx="2990824" cy="994449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5350" y="3696082"/>
            <a:ext cx="2540000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511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</a:t>
            </a:r>
            <a:r>
              <a:rPr lang="de-DE" dirty="0" smtClean="0"/>
              <a:t>rello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5" t="4879" r="38182" b="26948"/>
          <a:stretch/>
        </p:blipFill>
        <p:spPr>
          <a:xfrm>
            <a:off x="1059451" y="1377539"/>
            <a:ext cx="7656897" cy="456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09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</TotalTime>
  <Words>582</Words>
  <Application>Microsoft Macintosh PowerPoint</Application>
  <PresentationFormat>On-screen Show (4:3)</PresentationFormat>
  <Paragraphs>272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Calibri</vt:lpstr>
      <vt:lpstr>Franklin Gothic</vt:lpstr>
      <vt:lpstr>Franklin Gothic Book</vt:lpstr>
      <vt:lpstr>Noto Sans Symbols</vt:lpstr>
      <vt:lpstr>Source Sans Pro</vt:lpstr>
      <vt:lpstr>Wingdings</vt:lpstr>
      <vt:lpstr>Arial</vt:lpstr>
      <vt:lpstr>Office Theme</vt:lpstr>
      <vt:lpstr>think-cell Folie</vt:lpstr>
      <vt:lpstr>Digital HHZ   Abderraouf Gharbi, Julia Hain, Valeria Kinitzki, Peter Kühfuß, Manh Phi Nguyen, Natascha Sigle GitHub Repository: https://github.com/Bariumm/HHZ_IoT</vt:lpstr>
      <vt:lpstr>Agenda</vt:lpstr>
      <vt:lpstr>Business Model</vt:lpstr>
      <vt:lpstr>Value Proposition Canvas</vt:lpstr>
      <vt:lpstr>Business Model Canvas</vt:lpstr>
      <vt:lpstr>Vision</vt:lpstr>
      <vt:lpstr>Project Management</vt:lpstr>
      <vt:lpstr>Project Management Tools</vt:lpstr>
      <vt:lpstr>Trello</vt:lpstr>
      <vt:lpstr>Sensors</vt:lpstr>
      <vt:lpstr>Sensors</vt:lpstr>
      <vt:lpstr>Additional Hardware</vt:lpstr>
      <vt:lpstr>Sensor Plan</vt:lpstr>
      <vt:lpstr>Sensor Cases 3D Prints – Humidity Sensor</vt:lpstr>
      <vt:lpstr>Sensor Cases 3D Prints – Motion Sensor</vt:lpstr>
      <vt:lpstr>Sensors Infrastructure</vt:lpstr>
      <vt:lpstr>Cost Structure</vt:lpstr>
      <vt:lpstr>Overview</vt:lpstr>
      <vt:lpstr>Infrastructure</vt:lpstr>
      <vt:lpstr>Technologies</vt:lpstr>
      <vt:lpstr>Hackathon</vt:lpstr>
      <vt:lpstr>Hackathon Project Integration</vt:lpstr>
      <vt:lpstr>Outlook</vt:lpstr>
      <vt:lpstr>Outlook: Project Part 2</vt:lpstr>
      <vt:lpstr>Outlook: Project Part 2</vt:lpstr>
      <vt:lpstr>Q &amp; A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Model Canvas</dc:title>
  <dc:creator>Natascha S</dc:creator>
  <cp:lastModifiedBy>Julia Hain</cp:lastModifiedBy>
  <cp:revision>42</cp:revision>
  <dcterms:modified xsi:type="dcterms:W3CDTF">2017-10-06T09:10:12Z</dcterms:modified>
</cp:coreProperties>
</file>